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611999" y="5831999"/>
            <a:ext cx="2879994"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fdffdfdfdfdf</a:t>
            </a: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